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876355232267077</c:v>
                </c:pt>
                <c:pt idx="1">
                  <c:v>27.57267068512785</c:v>
                </c:pt>
                <c:pt idx="2">
                  <c:v>29.460045091501183</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6527690000000028</c:v>
                </c:pt>
                <c:pt idx="1">
                  <c:v>0.84259199999999979</c:v>
                </c:pt>
                <c:pt idx="2">
                  <c:v>0.8546180000000021</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52912423226708</c:v>
                </c:pt>
                <c:pt idx="1">
                  <c:v>28.41526268512785</c:v>
                </c:pt>
                <c:pt idx="2">
                  <c:v>30.314663091501185</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6.211840457009629</c:v>
                </c:pt>
                <c:pt idx="1">
                  <c:v>85.940274716844471</c:v>
                </c:pt>
                <c:pt idx="2">
                  <c:v>88.22409210725699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145326680548463</c:v>
                </c:pt>
                <c:pt idx="1">
                  <c:v>9.5437026570901526</c:v>
                </c:pt>
                <c:pt idx="2">
                  <c:v>9.921346991640174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9.926373125064458</c:v>
                </c:pt>
                <c:pt idx="1">
                  <c:v>95.48397737393465</c:v>
                </c:pt>
                <c:pt idx="2">
                  <c:v>98.14543909889717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88.224092107256993</c:v>
                </c:pt>
                <c:pt idx="2">
                  <c:v>157.05747185058954</c:v>
                </c:pt>
                <c:pt idx="3">
                  <c:v>106.3862670063909</c:v>
                </c:pt>
                <c:pt idx="4">
                  <c:v>137.9113273075391</c:v>
                </c:pt>
                <c:pt idx="5">
                  <c:v>122.97136395162798</c:v>
                </c:pt>
                <c:pt idx="7">
                  <c:v>131.08160752903686</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9.9213469916401742</c:v>
                </c:pt>
                <c:pt idx="2">
                  <c:v>126.44813115268462</c:v>
                </c:pt>
                <c:pt idx="3">
                  <c:v>8.5160324588355785</c:v>
                </c:pt>
                <c:pt idx="4">
                  <c:v>191.33777392401072</c:v>
                </c:pt>
                <c:pt idx="5">
                  <c:v>77.468932575398711</c:v>
                </c:pt>
                <c:pt idx="7">
                  <c:v>100.9427175277324</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98.145439098897171</c:v>
                </c:pt>
                <c:pt idx="2">
                  <c:v>283.50560300327419</c:v>
                </c:pt>
                <c:pt idx="3">
                  <c:v>114.90229946522648</c:v>
                </c:pt>
                <c:pt idx="4">
                  <c:v>329.24910123154979</c:v>
                </c:pt>
                <c:pt idx="5">
                  <c:v>200.44029652702667</c:v>
                </c:pt>
                <c:pt idx="7">
                  <c:v>232.02432505676927</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343659751522658</c:v>
                </c:pt>
                <c:pt idx="2">
                  <c:v>2.2180561852152358</c:v>
                </c:pt>
                <c:pt idx="3">
                  <c:v>2.2215720012444571</c:v>
                </c:pt>
                <c:pt idx="4">
                  <c:v>2.2842182595104803</c:v>
                </c:pt>
                <c:pt idx="6">
                  <c:v>2.3802510171451505</c:v>
                </c:pt>
                <c:pt idx="7">
                  <c:v>2.3802510171451505</c:v>
                </c:pt>
                <c:pt idx="8">
                  <c:v>2.3888035895409159</c:v>
                </c:pt>
                <c:pt idx="9">
                  <c:v>2.491025642800801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39819975152266</c:v>
                </c:pt>
                <c:pt idx="5">
                  <c:v>2.1896722595104805</c:v>
                </c:pt>
                <c:pt idx="10">
                  <c:v>2.247861642800800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8369021006297018</c:v>
                </c:pt>
                <c:pt idx="2">
                  <c:v>3.5158160292210893E-3</c:v>
                </c:pt>
                <c:pt idx="3">
                  <c:v>6.2646258266023241E-2</c:v>
                </c:pt>
                <c:pt idx="7">
                  <c:v>8.5525723957654357E-3</c:v>
                </c:pt>
                <c:pt idx="8">
                  <c:v>0.1022220532598852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5.258524236533025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9.4546000000000005E-2</c:v>
                </c:pt>
                <c:pt idx="5">
                  <c:v>0.24316399999999999</c:v>
                </c:pt>
                <c:pt idx="10">
                  <c:v>0.252786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14861799999999997</c:v>
                </c:pt>
                <c:pt idx="9">
                  <c:v>9.6220000000000194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343659751522658</c:v>
                </c:pt>
                <c:pt idx="5">
                  <c:v>2.4328362595104807</c:v>
                </c:pt>
                <c:pt idx="10">
                  <c:v>2.500647642800800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Omgevingsadressendichtheid</c:v>
                </c:pt>
                <c:pt idx="6">
                  <c:v>Klantenpotentieel regionaal</c:v>
                </c:pt>
                <c:pt idx="7">
                  <c:v>Loonkostensubsidie</c:v>
                </c:pt>
                <c:pt idx="10">
                  <c:v>Overig</c:v>
                </c:pt>
              </c:strCache>
            </c:strRef>
          </c:cat>
          <c:val>
            <c:numRef>
              <c:f>Sheet1!$B$2:$B$12</c:f>
              <c:numCache>
                <c:formatCode>General</c:formatCode>
                <c:ptCount val="11"/>
                <c:pt idx="0">
                  <c:v>0.97241230528000111</c:v>
                </c:pt>
                <c:pt idx="1">
                  <c:v>0.45294115276800012</c:v>
                </c:pt>
                <c:pt idx="2">
                  <c:v>0.31461265368000002</c:v>
                </c:pt>
                <c:pt idx="3">
                  <c:v>0.17136792864048003</c:v>
                </c:pt>
                <c:pt idx="4">
                  <c:v>0.13103349948000004</c:v>
                </c:pt>
                <c:pt idx="5">
                  <c:v>0.11151195599232001</c:v>
                </c:pt>
                <c:pt idx="6">
                  <c:v>6.8780654799999993E-2</c:v>
                </c:pt>
                <c:pt idx="7">
                  <c:v>2.520149216000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0.146316</c:v>
                </c:pt>
                <c:pt idx="1">
                  <c:v>8.5402000000000006E-2</c:v>
                </c:pt>
                <c:pt idx="2">
                  <c:v>2.1068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9978593740413333</c:v>
                </c:pt>
                <c:pt idx="1">
                  <c:v>0.62527837967358013</c:v>
                </c:pt>
                <c:pt idx="2">
                  <c:v>0.6835270606514135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9628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9978593740413333</c:v>
                </c:pt>
                <c:pt idx="1">
                  <c:v>0.62527837967358013</c:v>
                </c:pt>
                <c:pt idx="2">
                  <c:v>0.713156060651413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56444966817795</c:v>
                </c:pt>
                <c:pt idx="1">
                  <c:v>24.540930949942311</c:v>
                </c:pt>
                <c:pt idx="2">
                  <c:v>26.8270756564784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2879233878880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56444966817795</c:v>
                </c:pt>
                <c:pt idx="1">
                  <c:v>24.540930949942311</c:v>
                </c:pt>
                <c:pt idx="2">
                  <c:v>27.98995489035729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26.827075656478414</c:v>
                </c:pt>
                <c:pt idx="2">
                  <c:v>26.761252475085438</c:v>
                </c:pt>
                <c:pt idx="3">
                  <c:v>22.818871615830243</c:v>
                </c:pt>
                <c:pt idx="4">
                  <c:v>24.168127759987911</c:v>
                </c:pt>
                <c:pt idx="5">
                  <c:v>26.233560030159481</c:v>
                </c:pt>
                <c:pt idx="7">
                  <c:v>24.995452970265767</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1.1628792338788807</c:v>
                </c:pt>
                <c:pt idx="2">
                  <c:v>1.1623328234694277</c:v>
                </c:pt>
                <c:pt idx="3">
                  <c:v>1.1642637674308673</c:v>
                </c:pt>
                <c:pt idx="4">
                  <c:v>1.1630931735771717</c:v>
                </c:pt>
                <c:pt idx="5">
                  <c:v>1.1689562608558346</c:v>
                </c:pt>
                <c:pt idx="7">
                  <c:v>1.1646615063333254</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27.989954890357296</c:v>
                </c:pt>
                <c:pt idx="2">
                  <c:v>27.923585298554862</c:v>
                </c:pt>
                <c:pt idx="3">
                  <c:v>23.983135383261111</c:v>
                </c:pt>
                <c:pt idx="4">
                  <c:v>25.331220933565081</c:v>
                </c:pt>
                <c:pt idx="5">
                  <c:v>27.402516291015317</c:v>
                </c:pt>
                <c:pt idx="7">
                  <c:v>26.160114476599091</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941107942557694</c:v>
                </c:pt>
                <c:pt idx="2">
                  <c:v>0.5941107942557694</c:v>
                </c:pt>
                <c:pt idx="3">
                  <c:v>0.61441130371263508</c:v>
                </c:pt>
                <c:pt idx="4">
                  <c:v>0.62527837967358013</c:v>
                </c:pt>
                <c:pt idx="6">
                  <c:v>0.62366010398162597</c:v>
                </c:pt>
                <c:pt idx="7">
                  <c:v>0.62366010398162597</c:v>
                </c:pt>
                <c:pt idx="8">
                  <c:v>0.65236154324108875</c:v>
                </c:pt>
                <c:pt idx="9">
                  <c:v>0.6835270606514135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9978593740413333</c:v>
                </c:pt>
                <c:pt idx="5">
                  <c:v>0.62527837967358013</c:v>
                </c:pt>
                <c:pt idx="10">
                  <c:v>0.6835270606514135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030050945686572E-2</c:v>
                </c:pt>
                <c:pt idx="3">
                  <c:v>1.0867075960945029E-2</c:v>
                </c:pt>
                <c:pt idx="7">
                  <c:v>2.8701439259462728E-2</c:v>
                </c:pt>
                <c:pt idx="8">
                  <c:v>3.116551741032480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6751431483639467E-3</c:v>
                </c:pt>
                <c:pt idx="6">
                  <c:v>1.6182756919541125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9628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9628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9978593740413333</c:v>
                </c:pt>
                <c:pt idx="5">
                  <c:v>0.62527837967358013</c:v>
                </c:pt>
                <c:pt idx="10">
                  <c:v>0.7131560606514135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Omgevingsadressendichtheid</c:v>
                </c:pt>
                <c:pt idx="3">
                  <c:v>Huishoudens met laag inkomen (drempel)</c:v>
                </c:pt>
                <c:pt idx="4">
                  <c:v>Minderheden</c:v>
                </c:pt>
                <c:pt idx="5">
                  <c:v>Eenouderhuishoudens</c:v>
                </c:pt>
                <c:pt idx="6">
                  <c:v>Huishoudens</c:v>
                </c:pt>
                <c:pt idx="7">
                  <c:v>Bijstandsontvangers</c:v>
                </c:pt>
                <c:pt idx="8">
                  <c:v>Klantenpotentieel lokaal</c:v>
                </c:pt>
                <c:pt idx="9">
                  <c:v>Ouderen</c:v>
                </c:pt>
                <c:pt idx="10">
                  <c:v>Overig</c:v>
                </c:pt>
              </c:strCache>
            </c:strRef>
          </c:cat>
          <c:val>
            <c:numRef>
              <c:f>Sheet1!$B$2:$B$12</c:f>
              <c:numCache>
                <c:formatCode>General</c:formatCode>
                <c:ptCount val="11"/>
                <c:pt idx="0">
                  <c:v>0.15194368644</c:v>
                </c:pt>
                <c:pt idx="1">
                  <c:v>0.12198427956000001</c:v>
                </c:pt>
                <c:pt idx="2">
                  <c:v>7.9503894550080001E-2</c:v>
                </c:pt>
                <c:pt idx="3">
                  <c:v>7.3266986208000012E-2</c:v>
                </c:pt>
                <c:pt idx="4">
                  <c:v>6.8857789000000003E-2</c:v>
                </c:pt>
                <c:pt idx="5">
                  <c:v>5.7567550559999993E-2</c:v>
                </c:pt>
                <c:pt idx="6">
                  <c:v>3.3374203200000001E-2</c:v>
                </c:pt>
                <c:pt idx="7">
                  <c:v>2.6560322186666697E-2</c:v>
                </c:pt>
                <c:pt idx="8">
                  <c:v>1.7540172000000003E-2</c:v>
                </c:pt>
                <c:pt idx="9">
                  <c:v>1.6361348639999999E-2</c:v>
                </c:pt>
                <c:pt idx="10">
                  <c:v>3.65668283066667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02.32802546918151</c:v>
                </c:pt>
                <c:pt idx="1">
                  <c:v>1082.1724041417579</c:v>
                </c:pt>
                <c:pt idx="2">
                  <c:v>1156.2480902508412</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39.95085058735725</c:v>
                </c:pt>
                <c:pt idx="1">
                  <c:v>33.070057694571993</c:v>
                </c:pt>
                <c:pt idx="2">
                  <c:v>33.542054240747362</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42.2788760565388</c:v>
                </c:pt>
                <c:pt idx="1">
                  <c:v>1115.2424618363298</c:v>
                </c:pt>
                <c:pt idx="2">
                  <c:v>1189.7901444915885</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9628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6404408808906683</c:v>
                </c:pt>
                <c:pt idx="1">
                  <c:v>5.3204008126516849</c:v>
                </c:pt>
                <c:pt idx="2">
                  <c:v>5.45811148227622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255936</c:v>
                </c:pt>
                <c:pt idx="2">
                  <c:v>0.445068000000000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96404408808906683</c:v>
                </c:pt>
                <c:pt idx="1">
                  <c:v>5.576336812651685</c:v>
                </c:pt>
                <c:pt idx="2">
                  <c:v>5.90317948227622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9.29347126389075</c:v>
                </c:pt>
                <c:pt idx="1">
                  <c:v>978.19467046363013</c:v>
                </c:pt>
                <c:pt idx="2">
                  <c:v>1003.513786040857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47.055708769994482</c:v>
                </c:pt>
                <c:pt idx="2">
                  <c:v>81.82901268615553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9.29347126389075</c:v>
                </c:pt>
                <c:pt idx="1">
                  <c:v>1025.2503792336249</c:v>
                </c:pt>
                <c:pt idx="2">
                  <c:v>1085.342798727012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1003.5137860408574</c:v>
                </c:pt>
                <c:pt idx="2">
                  <c:v>1395.1012058544409</c:v>
                </c:pt>
                <c:pt idx="3">
                  <c:v>1040.9943670193927</c:v>
                </c:pt>
                <c:pt idx="4">
                  <c:v>1252.2582017423138</c:v>
                </c:pt>
                <c:pt idx="5">
                  <c:v>1195.6987713164422</c:v>
                </c:pt>
                <c:pt idx="7">
                  <c:v>1221.0131364831473</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81.829012686155536</c:v>
                </c:pt>
                <c:pt idx="2">
                  <c:v>208.47282377919322</c:v>
                </c:pt>
                <c:pt idx="3">
                  <c:v>465.73646371601882</c:v>
                </c:pt>
                <c:pt idx="4">
                  <c:v>409.90160234709998</c:v>
                </c:pt>
                <c:pt idx="5">
                  <c:v>140.75960951799877</c:v>
                </c:pt>
                <c:pt idx="7">
                  <c:v>306.21762484007769</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1085.3427987270129</c:v>
                </c:pt>
                <c:pt idx="2">
                  <c:v>1603.5740296336342</c:v>
                </c:pt>
                <c:pt idx="3">
                  <c:v>1506.7308307354115</c:v>
                </c:pt>
                <c:pt idx="4">
                  <c:v>1662.1598040894137</c:v>
                </c:pt>
                <c:pt idx="5">
                  <c:v>1336.458380834441</c:v>
                </c:pt>
                <c:pt idx="7">
                  <c:v>1527.2307613232251</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1867257756442999</c:v>
                </c:pt>
                <c:pt idx="2">
                  <c:v>0.91867257756442999</c:v>
                </c:pt>
                <c:pt idx="3">
                  <c:v>5.2932943910982582</c:v>
                </c:pt>
                <c:pt idx="4">
                  <c:v>5.3204008126516849</c:v>
                </c:pt>
                <c:pt idx="6">
                  <c:v>5.5740132071755886</c:v>
                </c:pt>
                <c:pt idx="7">
                  <c:v>5.4645917937833914</c:v>
                </c:pt>
                <c:pt idx="8">
                  <c:v>5.4645917937833914</c:v>
                </c:pt>
                <c:pt idx="9">
                  <c:v>5.714047482276225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6404408808906683</c:v>
                </c:pt>
                <c:pt idx="5">
                  <c:v>5.3204008126516849</c:v>
                </c:pt>
                <c:pt idx="10">
                  <c:v>5.45811148227622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3746218135338282</c:v>
                </c:pt>
                <c:pt idx="3">
                  <c:v>2.7106421553426352E-2</c:v>
                </c:pt>
                <c:pt idx="8">
                  <c:v>0.2494556884928332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5371510524636838E-2</c:v>
                </c:pt>
                <c:pt idx="6">
                  <c:v>2.3236054760968797E-3</c:v>
                </c:pt>
                <c:pt idx="7">
                  <c:v>0.1094214133921972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255936</c:v>
                </c:pt>
                <c:pt idx="10">
                  <c:v>0.4450680000000000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255936</c:v>
                </c:pt>
                <c:pt idx="9">
                  <c:v>0.1891320000000000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96404408808906683</c:v>
                </c:pt>
                <c:pt idx="5">
                  <c:v>5.576336812651685</c:v>
                </c:pt>
                <c:pt idx="10">
                  <c:v>5.90317948227622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oudens)</c:v>
                </c:pt>
                <c:pt idx="2">
                  <c:v>Gem. gestand. inkomen (huish. kinderen)</c:v>
                </c:pt>
                <c:pt idx="3">
                  <c:v>Ouders lang psychisch medicijngebruik</c:v>
                </c:pt>
                <c:pt idx="4">
                  <c:v>Uitkeringsont. min. bijstandsont.</c:v>
                </c:pt>
                <c:pt idx="5">
                  <c:v>Eenouderhuishoudens</c:v>
                </c:pt>
                <c:pt idx="6">
                  <c:v>Eenouderhuishoudens 2 of meer kinderen</c:v>
                </c:pt>
                <c:pt idx="7">
                  <c:v>Bijstandsont. eenouderhuishoudens</c:v>
                </c:pt>
                <c:pt idx="8">
                  <c:v>Jeugdigen in gezinnen armoederisico</c:v>
                </c:pt>
                <c:pt idx="9">
                  <c:v>Minderheden</c:v>
                </c:pt>
                <c:pt idx="10">
                  <c:v>Overig</c:v>
                </c:pt>
              </c:strCache>
            </c:strRef>
          </c:cat>
          <c:val>
            <c:numRef>
              <c:f>Sheet1!$B$2:$B$12</c:f>
              <c:numCache>
                <c:formatCode>General</c:formatCode>
                <c:ptCount val="11"/>
                <c:pt idx="0">
                  <c:v>4.4717737100399999</c:v>
                </c:pt>
                <c:pt idx="1">
                  <c:v>-1.9604039096511998</c:v>
                </c:pt>
                <c:pt idx="2">
                  <c:v>-1.9368059177376002</c:v>
                </c:pt>
                <c:pt idx="3">
                  <c:v>1.6626071419234754</c:v>
                </c:pt>
                <c:pt idx="4">
                  <c:v>1.0546077984000002</c:v>
                </c:pt>
                <c:pt idx="5">
                  <c:v>0.91361934456000016</c:v>
                </c:pt>
                <c:pt idx="6">
                  <c:v>0.62471983184000002</c:v>
                </c:pt>
                <c:pt idx="7">
                  <c:v>0.22945546520000012</c:v>
                </c:pt>
                <c:pt idx="8">
                  <c:v>0.18458676652416001</c:v>
                </c:pt>
                <c:pt idx="9">
                  <c:v>0.14275106300000001</c:v>
                </c:pt>
                <c:pt idx="10">
                  <c:v>7.12001881773884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48273500000000003</c:v>
                </c:pt>
                <c:pt idx="1">
                  <c:v>0</c:v>
                </c:pt>
                <c:pt idx="6">
                  <c:v>-3.7666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011613078405339</c:v>
                </c:pt>
                <c:pt idx="1">
                  <c:v>7.791577465044166</c:v>
                </c:pt>
                <c:pt idx="2">
                  <c:v>8.434494896495342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626212</c:v>
                </c:pt>
                <c:pt idx="1">
                  <c:v>-1.8420000000000001E-3</c:v>
                </c:pt>
                <c:pt idx="2">
                  <c:v>2.844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273733078405341</c:v>
                </c:pt>
                <c:pt idx="1">
                  <c:v>7.7897354650441661</c:v>
                </c:pt>
                <c:pt idx="2">
                  <c:v>8.462934896495342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5.76754440893153</c:v>
                </c:pt>
                <c:pt idx="1">
                  <c:v>305.80389595526378</c:v>
                </c:pt>
                <c:pt idx="2">
                  <c:v>331.037124553371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3.890779083015758</c:v>
                </c:pt>
                <c:pt idx="1">
                  <c:v>-7.2294831037324855E-2</c:v>
                </c:pt>
                <c:pt idx="2">
                  <c:v>1.116213352172377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9.6583234919473</c:v>
                </c:pt>
                <c:pt idx="1">
                  <c:v>305.73160112422647</c:v>
                </c:pt>
                <c:pt idx="2">
                  <c:v>332.1533379055434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331.03712455337109</c:v>
                </c:pt>
                <c:pt idx="2">
                  <c:v>451.46690675057567</c:v>
                </c:pt>
                <c:pt idx="3">
                  <c:v>401.06343453064505</c:v>
                </c:pt>
                <c:pt idx="4">
                  <c:v>420.96580899999645</c:v>
                </c:pt>
                <c:pt idx="5">
                  <c:v>365.93096650809338</c:v>
                </c:pt>
                <c:pt idx="7">
                  <c:v>409.85677919732763</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1.1162133521723772</c:v>
                </c:pt>
                <c:pt idx="2">
                  <c:v>1.0224732321449583</c:v>
                </c:pt>
                <c:pt idx="3">
                  <c:v>0.28007563223824156</c:v>
                </c:pt>
                <c:pt idx="4">
                  <c:v>0.46705029166009776</c:v>
                </c:pt>
                <c:pt idx="5">
                  <c:v>0.8420180009474183</c:v>
                </c:pt>
                <c:pt idx="7">
                  <c:v>0.65290428924767907</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332.15333790554348</c:v>
                </c:pt>
                <c:pt idx="2">
                  <c:v>452.48937998272061</c:v>
                </c:pt>
                <c:pt idx="3">
                  <c:v>401.34351016288332</c:v>
                </c:pt>
                <c:pt idx="4">
                  <c:v>421.43285929165654</c:v>
                </c:pt>
                <c:pt idx="5">
                  <c:v>366.77298450904078</c:v>
                </c:pt>
                <c:pt idx="7">
                  <c:v>410.50968348657528</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61063047439442864</c:v>
                </c:pt>
                <c:pt idx="1">
                  <c:v>0.62368237442507457</c:v>
                </c:pt>
                <c:pt idx="2">
                  <c:v>0.63755362940259863</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61063047439442864</c:v>
                </c:pt>
                <c:pt idx="1">
                  <c:v>0.62368237442507457</c:v>
                </c:pt>
                <c:pt idx="2">
                  <c:v>0.63755362940259863</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8273733078405341</c:v>
                </c:pt>
                <c:pt idx="2">
                  <c:v>4.9292686595908037</c:v>
                </c:pt>
                <c:pt idx="3">
                  <c:v>8.8877493312895961</c:v>
                </c:pt>
                <c:pt idx="4">
                  <c:v>7.7897354650441661</c:v>
                </c:pt>
                <c:pt idx="6">
                  <c:v>7.789735465044167</c:v>
                </c:pt>
                <c:pt idx="7">
                  <c:v>8.0326705448422331</c:v>
                </c:pt>
                <c:pt idx="8">
                  <c:v>8.0448040029271706</c:v>
                </c:pt>
                <c:pt idx="9">
                  <c:v>8.432652896495344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011613078405339</c:v>
                </c:pt>
                <c:pt idx="5">
                  <c:v>7.7915774650441669</c:v>
                </c:pt>
                <c:pt idx="10">
                  <c:v>8.434494896495344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0189535175026941</c:v>
                </c:pt>
                <c:pt idx="2">
                  <c:v>3.9584806716987924</c:v>
                </c:pt>
                <c:pt idx="3">
                  <c:v>0.53004013375457038</c:v>
                </c:pt>
                <c:pt idx="6">
                  <c:v>0.24293507979806525</c:v>
                </c:pt>
                <c:pt idx="7">
                  <c:v>1.2133458084936792E-2</c:v>
                </c:pt>
                <c:pt idx="8">
                  <c:v>0.387848893568174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626212</c:v>
                </c:pt>
                <c:pt idx="5">
                  <c:v>-1.8419999999998993E-3</c:v>
                </c:pt>
                <c:pt idx="10">
                  <c:v>2.84400000000001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3.028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6280539999999999</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8273733078405341</c:v>
                </c:pt>
                <c:pt idx="5">
                  <c:v>7.789735465044167</c:v>
                </c:pt>
                <c:pt idx="10">
                  <c:v>8.462934896495344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Ouderen</c:v>
                </c:pt>
                <c:pt idx="3">
                  <c:v>Huishoudens met laag inkomen (drempel)</c:v>
                </c:pt>
                <c:pt idx="4">
                  <c:v>Huishoudens</c:v>
                </c:pt>
                <c:pt idx="5">
                  <c:v>Wajong</c:v>
                </c:pt>
                <c:pt idx="6">
                  <c:v>Klantenpotentieel lokaal</c:v>
                </c:pt>
                <c:pt idx="7">
                  <c:v>Gem. gestandaardiseerd inkomen 75 t/m 84</c:v>
                </c:pt>
                <c:pt idx="8">
                  <c:v>Uitkeringsont. min bijstandsont.</c:v>
                </c:pt>
                <c:pt idx="9">
                  <c:v>Gem. gestandaardiseerd inkomen 85+</c:v>
                </c:pt>
                <c:pt idx="10">
                  <c:v>Overig</c:v>
                </c:pt>
              </c:strCache>
            </c:strRef>
          </c:cat>
          <c:val>
            <c:numRef>
              <c:f>Sheet1!$B$2:$B$12</c:f>
              <c:numCache>
                <c:formatCode>General</c:formatCode>
                <c:ptCount val="11"/>
                <c:pt idx="0">
                  <c:v>2.2357770492689251</c:v>
                </c:pt>
                <c:pt idx="1">
                  <c:v>1.3943994246000002</c:v>
                </c:pt>
                <c:pt idx="2">
                  <c:v>0.93592621668000009</c:v>
                </c:pt>
                <c:pt idx="3">
                  <c:v>0.88048835347200027</c:v>
                </c:pt>
                <c:pt idx="4">
                  <c:v>0.32539848120000003</c:v>
                </c:pt>
                <c:pt idx="5">
                  <c:v>0.29457884664</c:v>
                </c:pt>
                <c:pt idx="6">
                  <c:v>0.28031793399999994</c:v>
                </c:pt>
                <c:pt idx="7">
                  <c:v>0.25921853646374404</c:v>
                </c:pt>
                <c:pt idx="8">
                  <c:v>0.23661967680000001</c:v>
                </c:pt>
                <c:pt idx="9">
                  <c:v>0.21955325152253999</c:v>
                </c:pt>
                <c:pt idx="10">
                  <c:v>1.3722171258481328</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844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958233982315996</c:v>
                </c:pt>
                <c:pt idx="1">
                  <c:v>1.8728500258825398</c:v>
                </c:pt>
                <c:pt idx="2">
                  <c:v>1.96432230354048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7756999999999999E-2</c:v>
                </c:pt>
                <c:pt idx="1">
                  <c:v>3.7756999999999999E-2</c:v>
                </c:pt>
                <c:pt idx="2">
                  <c:v>3.7756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335803982315997</c:v>
                </c:pt>
                <c:pt idx="1">
                  <c:v>1.9106070258825398</c:v>
                </c:pt>
                <c:pt idx="2">
                  <c:v>2.00207930354048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96.73222046126898</c:v>
                </c:pt>
                <c:pt idx="1">
                  <c:v>344.33719909588893</c:v>
                </c:pt>
                <c:pt idx="2">
                  <c:v>361.1550475345615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23876404494382</c:v>
                </c:pt>
                <c:pt idx="1">
                  <c:v>6.9419010847582276</c:v>
                </c:pt>
                <c:pt idx="2">
                  <c:v>6.941901084758227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2.9709845062128</c:v>
                </c:pt>
                <c:pt idx="1">
                  <c:v>351.27910018064716</c:v>
                </c:pt>
                <c:pt idx="2">
                  <c:v>368.0969486193198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361.15504753456156</c:v>
                </c:pt>
                <c:pt idx="2">
                  <c:v>614.05262977773259</c:v>
                </c:pt>
                <c:pt idx="3">
                  <c:v>540.07566937515173</c:v>
                </c:pt>
                <c:pt idx="4">
                  <c:v>511.67852560742057</c:v>
                </c:pt>
                <c:pt idx="5">
                  <c:v>567.80918046613806</c:v>
                </c:pt>
                <c:pt idx="7">
                  <c:v>558.40400130661078</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6.9419010847582276</c:v>
                </c:pt>
                <c:pt idx="2">
                  <c:v>11.379405520169851</c:v>
                </c:pt>
                <c:pt idx="3">
                  <c:v>14.564367557852167</c:v>
                </c:pt>
                <c:pt idx="4">
                  <c:v>15.55991875423155</c:v>
                </c:pt>
                <c:pt idx="5">
                  <c:v>9.0508440105755543</c:v>
                </c:pt>
                <c:pt idx="7">
                  <c:v>12.63863396070728</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368.09694861931985</c:v>
                </c:pt>
                <c:pt idx="2">
                  <c:v>625.43203529790242</c:v>
                </c:pt>
                <c:pt idx="3">
                  <c:v>554.64003693300401</c:v>
                </c:pt>
                <c:pt idx="4">
                  <c:v>527.238444361652</c:v>
                </c:pt>
                <c:pt idx="5">
                  <c:v>576.86002447671353</c:v>
                </c:pt>
                <c:pt idx="7">
                  <c:v>571.04263526731802</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158703435048568</c:v>
                </c:pt>
                <c:pt idx="2">
                  <c:v>1.7158703435048568</c:v>
                </c:pt>
                <c:pt idx="3">
                  <c:v>1.8646728555180236</c:v>
                </c:pt>
                <c:pt idx="4">
                  <c:v>1.9106070258825398</c:v>
                </c:pt>
                <c:pt idx="6">
                  <c:v>1.9106070258825398</c:v>
                </c:pt>
                <c:pt idx="7">
                  <c:v>1.9106871402362138</c:v>
                </c:pt>
                <c:pt idx="8">
                  <c:v>1.9106871402362138</c:v>
                </c:pt>
                <c:pt idx="9">
                  <c:v>2.00207930354048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7958233982315996</c:v>
                </c:pt>
                <c:pt idx="5">
                  <c:v>1.8728500258825398</c:v>
                </c:pt>
                <c:pt idx="10">
                  <c:v>1.96432230354048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4880251201316694</c:v>
                </c:pt>
                <c:pt idx="3">
                  <c:v>4.5934170364516164E-2</c:v>
                </c:pt>
                <c:pt idx="6">
                  <c:v>8.0114353673960072E-5</c:v>
                </c:pt>
                <c:pt idx="8">
                  <c:v>9.139216330426666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177100547267429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7756999999999999E-2</c:v>
                </c:pt>
                <c:pt idx="5">
                  <c:v>3.7756999999999999E-2</c:v>
                </c:pt>
                <c:pt idx="10">
                  <c:v>3.7756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8335803982315997</c:v>
                </c:pt>
                <c:pt idx="5">
                  <c:v>1.9106070258825398</c:v>
                </c:pt>
                <c:pt idx="10">
                  <c:v>2.00207930354048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laag inkomen (drempel)</c:v>
                </c:pt>
                <c:pt idx="2">
                  <c:v>Omgevingsadressendichtheid</c:v>
                </c:pt>
                <c:pt idx="3">
                  <c:v>Minderheden</c:v>
                </c:pt>
                <c:pt idx="4">
                  <c:v>Inwoners</c:v>
                </c:pt>
                <c:pt idx="5">
                  <c:v>Land</c:v>
                </c:pt>
                <c:pt idx="6">
                  <c:v>Kernen</c:v>
                </c:pt>
                <c:pt idx="7">
                  <c:v>Binnenwater</c:v>
                </c:pt>
                <c:pt idx="8">
                  <c:v>Klantenpotentieel regionaal</c:v>
                </c:pt>
                <c:pt idx="9">
                  <c:v>Minderheden (drempel)</c:v>
                </c:pt>
                <c:pt idx="10">
                  <c:v>Overig</c:v>
                </c:pt>
              </c:strCache>
            </c:strRef>
          </c:cat>
          <c:val>
            <c:numRef>
              <c:f>Sheet1!$B$2:$B$12</c:f>
              <c:numCache>
                <c:formatCode>General</c:formatCode>
                <c:ptCount val="11"/>
                <c:pt idx="0">
                  <c:v>1.6009761768000002</c:v>
                </c:pt>
                <c:pt idx="1">
                  <c:v>0.10303324324800002</c:v>
                </c:pt>
                <c:pt idx="2">
                  <c:v>9.8433393252480003E-2</c:v>
                </c:pt>
                <c:pt idx="3">
                  <c:v>9.5476745000000016E-2</c:v>
                </c:pt>
                <c:pt idx="4">
                  <c:v>4.2715033919999999E-2</c:v>
                </c:pt>
                <c:pt idx="5">
                  <c:v>1.5397952960000001E-2</c:v>
                </c:pt>
                <c:pt idx="6">
                  <c:v>7.1285702799999996E-3</c:v>
                </c:pt>
                <c:pt idx="7">
                  <c:v>6.0714368000000009E-4</c:v>
                </c:pt>
                <c:pt idx="8">
                  <c:v>5.5404440000000009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7756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5456123722026666</c:v>
                </c:pt>
                <c:pt idx="1">
                  <c:v>0.21123212991984006</c:v>
                </c:pt>
                <c:pt idx="2">
                  <c:v>0.2211261910887467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5456123722026666</c:v>
                </c:pt>
                <c:pt idx="1">
                  <c:v>0.21123212991984006</c:v>
                </c:pt>
                <c:pt idx="2">
                  <c:v>0.2211261910887467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9212552925999997</c:v>
                </c:pt>
                <c:pt idx="1">
                  <c:v>-4.0475717656199999</c:v>
                </c:pt>
                <c:pt idx="2">
                  <c:v>-3.82125149807999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212552925999997</c:v>
                </c:pt>
                <c:pt idx="1">
                  <c:v>-4.0475717656199999</c:v>
                </c:pt>
                <c:pt idx="2">
                  <c:v>-3.821251498079999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0724172875600777</c:v>
                </c:pt>
                <c:pt idx="1">
                  <c:v>8.2904403595054763</c:v>
                </c:pt>
                <c:pt idx="2">
                  <c:v>8.678762553033742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0724172875600777</c:v>
                </c:pt>
                <c:pt idx="1">
                  <c:v>8.2904403595054763</c:v>
                </c:pt>
                <c:pt idx="2">
                  <c:v>8.678762553033742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8.6787625530337422</c:v>
                </c:pt>
                <c:pt idx="2">
                  <c:v>8.3853595267124241</c:v>
                </c:pt>
                <c:pt idx="3">
                  <c:v>7.3451529760550445</c:v>
                </c:pt>
                <c:pt idx="4">
                  <c:v>7.6644559451658001</c:v>
                </c:pt>
                <c:pt idx="5">
                  <c:v>8.3391199763145423</c:v>
                </c:pt>
                <c:pt idx="7">
                  <c:v>7.9335221060619521</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4.2750911871984938</c:v>
                </c:pt>
                <c:pt idx="3">
                  <c:v>0</c:v>
                </c:pt>
                <c:pt idx="4">
                  <c:v>3.8532634400126122</c:v>
                </c:pt>
                <c:pt idx="5">
                  <c:v>0</c:v>
                </c:pt>
                <c:pt idx="7">
                  <c:v>2.0320886568027765</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8.6787625530337422</c:v>
                </c:pt>
                <c:pt idx="2">
                  <c:v>12.660450713910919</c:v>
                </c:pt>
                <c:pt idx="3">
                  <c:v>7.3451529760550445</c:v>
                </c:pt>
                <c:pt idx="4">
                  <c:v>11.517719385178413</c:v>
                </c:pt>
                <c:pt idx="5">
                  <c:v>8.3391199763145423</c:v>
                </c:pt>
                <c:pt idx="7">
                  <c:v>9.9656107628647295</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5227198115451013</c:v>
                </c:pt>
                <c:pt idx="2">
                  <c:v>0.15227198115451013</c:v>
                </c:pt>
                <c:pt idx="3">
                  <c:v>0.20670448901804442</c:v>
                </c:pt>
                <c:pt idx="4">
                  <c:v>0.21123212991984006</c:v>
                </c:pt>
                <c:pt idx="6">
                  <c:v>0.21083882623558725</c:v>
                </c:pt>
                <c:pt idx="7">
                  <c:v>0.21083882623558725</c:v>
                </c:pt>
                <c:pt idx="8">
                  <c:v>0.21083882623558725</c:v>
                </c:pt>
                <c:pt idx="9">
                  <c:v>0.2211261910887467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5456123722026666</c:v>
                </c:pt>
                <c:pt idx="5">
                  <c:v>0.21123212991984006</c:v>
                </c:pt>
                <c:pt idx="10">
                  <c:v>0.2211261910887467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4432507863534284E-2</c:v>
                </c:pt>
                <c:pt idx="3">
                  <c:v>4.5276409017956489E-3</c:v>
                </c:pt>
                <c:pt idx="8">
                  <c:v>1.028736485315947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2892560657565321E-3</c:v>
                </c:pt>
                <c:pt idx="6">
                  <c:v>3.9330368425280119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5456123722026666</c:v>
                </c:pt>
                <c:pt idx="5">
                  <c:v>0.21123212991984006</c:v>
                </c:pt>
                <c:pt idx="10">
                  <c:v>0.2211261910887467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Omgevingsadressendichtheid</c:v>
                </c:pt>
                <c:pt idx="3">
                  <c:v>Huishoudens laag inkomen (drempel)</c:v>
                </c:pt>
                <c:pt idx="4">
                  <c:v>Minderheden</c:v>
                </c:pt>
                <c:pt idx="5">
                  <c:v>Eenouderhuishoudens</c:v>
                </c:pt>
                <c:pt idx="6">
                  <c:v>Huishoudens</c:v>
                </c:pt>
                <c:pt idx="7">
                  <c:v>Bijstandsontvangers</c:v>
                </c:pt>
                <c:pt idx="8">
                  <c:v>Klantenpotentieel lokaal</c:v>
                </c:pt>
                <c:pt idx="9">
                  <c:v>Ouderen</c:v>
                </c:pt>
                <c:pt idx="10">
                  <c:v>Overig</c:v>
                </c:pt>
              </c:strCache>
            </c:strRef>
          </c:cat>
          <c:val>
            <c:numRef>
              <c:f>Sheet1!$B$2:$B$12</c:f>
              <c:numCache>
                <c:formatCode>General</c:formatCode>
                <c:ptCount val="11"/>
                <c:pt idx="0">
                  <c:v>8.9868597000000008E-2</c:v>
                </c:pt>
                <c:pt idx="1">
                  <c:v>3.1625553960000004E-2</c:v>
                </c:pt>
                <c:pt idx="2">
                  <c:v>1.9273671406080006E-2</c:v>
                </c:pt>
                <c:pt idx="3">
                  <c:v>1.7835051936000001E-2</c:v>
                </c:pt>
                <c:pt idx="4">
                  <c:v>1.6745456000000002E-2</c:v>
                </c:pt>
                <c:pt idx="5">
                  <c:v>1.402217544E-2</c:v>
                </c:pt>
                <c:pt idx="6">
                  <c:v>8.15813856E-3</c:v>
                </c:pt>
                <c:pt idx="7">
                  <c:v>6.3241231733333417E-3</c:v>
                </c:pt>
                <c:pt idx="8">
                  <c:v>4.2226340000000003E-3</c:v>
                </c:pt>
                <c:pt idx="9">
                  <c:v>4.1854612800000003E-3</c:v>
                </c:pt>
                <c:pt idx="10">
                  <c:v>8.865328333333394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2628541207999993</c:v>
                </c:pt>
                <c:pt idx="1">
                  <c:v>4.4001721845699997</c:v>
                </c:pt>
                <c:pt idx="2">
                  <c:v>4.6148845553200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2628541207999993</c:v>
                </c:pt>
                <c:pt idx="1">
                  <c:v>4.4001721845699997</c:v>
                </c:pt>
                <c:pt idx="2">
                  <c:v>4.61488455532000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181.12502670120492</c:v>
                </c:pt>
                <c:pt idx="2">
                  <c:v>193.33947965799902</c:v>
                </c:pt>
                <c:pt idx="3">
                  <c:v>179.6773960135508</c:v>
                </c:pt>
                <c:pt idx="4">
                  <c:v>181.09909676178464</c:v>
                </c:pt>
                <c:pt idx="5">
                  <c:v>196.3192615948208</c:v>
                </c:pt>
                <c:pt idx="7">
                  <c:v>187.60880850703882</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4.604737812291642</c:v>
                </c:pt>
                <c:pt idx="3">
                  <c:v>7.025644055778776</c:v>
                </c:pt>
                <c:pt idx="4">
                  <c:v>4.4611382626517422</c:v>
                </c:pt>
                <c:pt idx="5">
                  <c:v>2.8899415758724145</c:v>
                </c:pt>
                <c:pt idx="7">
                  <c:v>4.7453654266486431</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181.12502670120492</c:v>
                </c:pt>
                <c:pt idx="2">
                  <c:v>197.94421747029065</c:v>
                </c:pt>
                <c:pt idx="3">
                  <c:v>186.70304006932957</c:v>
                </c:pt>
                <c:pt idx="4">
                  <c:v>185.56023502443639</c:v>
                </c:pt>
                <c:pt idx="5">
                  <c:v>199.20920317069323</c:v>
                </c:pt>
                <c:pt idx="7">
                  <c:v>192.35417393368743</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2628541207999993</c:v>
                </c:pt>
                <c:pt idx="2">
                  <c:v>4.2656208561891971</c:v>
                </c:pt>
                <c:pt idx="3">
                  <c:v>4.2656208561891971</c:v>
                </c:pt>
                <c:pt idx="4">
                  <c:v>4.4001721845699997</c:v>
                </c:pt>
                <c:pt idx="6">
                  <c:v>4.4001721845699997</c:v>
                </c:pt>
                <c:pt idx="7">
                  <c:v>4.4001721845699997</c:v>
                </c:pt>
                <c:pt idx="8">
                  <c:v>4.4001721845699997</c:v>
                </c:pt>
                <c:pt idx="9">
                  <c:v>4.61488455532000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2628541207999993</c:v>
                </c:pt>
                <c:pt idx="5">
                  <c:v>4.4001721845699997</c:v>
                </c:pt>
                <c:pt idx="10">
                  <c:v>4.6148845553200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7667353891978833E-3</c:v>
                </c:pt>
                <c:pt idx="3">
                  <c:v>0.13455132838080255</c:v>
                </c:pt>
                <c:pt idx="8">
                  <c:v>0.2147123707500009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2628541207999993</c:v>
                </c:pt>
                <c:pt idx="5">
                  <c:v>4.4001721845699997</c:v>
                </c:pt>
                <c:pt idx="10">
                  <c:v>4.61488455532000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2.1279479878799998</c:v>
                </c:pt>
                <c:pt idx="1">
                  <c:v>1.31290407144</c:v>
                </c:pt>
                <c:pt idx="2">
                  <c:v>1.1043812</c:v>
                </c:pt>
                <c:pt idx="3">
                  <c:v>6.9651296000000001E-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4.05866862845244</c:v>
                </c:pt>
                <c:pt idx="1">
                  <c:v>-158.85912969975271</c:v>
                </c:pt>
                <c:pt idx="2">
                  <c:v>-149.976509991757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4.05866862845244</c:v>
                </c:pt>
                <c:pt idx="1">
                  <c:v>-158.85912969975271</c:v>
                </c:pt>
                <c:pt idx="2">
                  <c:v>-149.9765099917579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Bibliotheekmiddel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0902257780856726</c:v>
                </c:pt>
                <c:pt idx="1">
                  <c:v>5.2757944389714746</c:v>
                </c:pt>
                <c:pt idx="2">
                  <c:v>5.52886535698794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215E-2</c:v>
                </c:pt>
                <c:pt idx="1">
                  <c:v>1.0215E-2</c:v>
                </c:pt>
                <c:pt idx="2">
                  <c:v>1.0215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004407780856722</c:v>
                </c:pt>
                <c:pt idx="1">
                  <c:v>5.2860094389714742</c:v>
                </c:pt>
                <c:pt idx="2">
                  <c:v>5.539080356987947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9.98529753214444</c:v>
                </c:pt>
                <c:pt idx="1">
                  <c:v>207.06442321015248</c:v>
                </c:pt>
                <c:pt idx="2">
                  <c:v>216.9969526664291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40132793776765019</c:v>
                </c:pt>
                <c:pt idx="1">
                  <c:v>0.40091840339102791</c:v>
                </c:pt>
                <c:pt idx="2">
                  <c:v>0.4009184033910279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0.38662546991208</c:v>
                </c:pt>
                <c:pt idx="1">
                  <c:v>207.46534161354347</c:v>
                </c:pt>
                <c:pt idx="2">
                  <c:v>217.397871069820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216.99695266642917</c:v>
                </c:pt>
                <c:pt idx="2">
                  <c:v>320.92824281390062</c:v>
                </c:pt>
                <c:pt idx="3">
                  <c:v>345.54113477309153</c:v>
                </c:pt>
                <c:pt idx="4">
                  <c:v>348.15876575073821</c:v>
                </c:pt>
                <c:pt idx="5">
                  <c:v>219.62091072752568</c:v>
                </c:pt>
                <c:pt idx="7">
                  <c:v>308.56226351631398</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40091840339102791</c:v>
                </c:pt>
                <c:pt idx="2">
                  <c:v>3.0715378279797623</c:v>
                </c:pt>
                <c:pt idx="3">
                  <c:v>2.2610100055148505</c:v>
                </c:pt>
                <c:pt idx="4">
                  <c:v>2.9332728992590256</c:v>
                </c:pt>
                <c:pt idx="5">
                  <c:v>5.0203694931312182</c:v>
                </c:pt>
                <c:pt idx="7">
                  <c:v>3.3215475564712142</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217.39787106982016</c:v>
                </c:pt>
                <c:pt idx="2">
                  <c:v>323.99978064188042</c:v>
                </c:pt>
                <c:pt idx="3">
                  <c:v>347.80214477860636</c:v>
                </c:pt>
                <c:pt idx="4">
                  <c:v>351.09203864999722</c:v>
                </c:pt>
                <c:pt idx="5">
                  <c:v>224.64128022065691</c:v>
                </c:pt>
                <c:pt idx="7">
                  <c:v>311.88381107278525</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1004407780856722</c:v>
                </c:pt>
                <c:pt idx="2">
                  <c:v>5.1249438559070075</c:v>
                </c:pt>
                <c:pt idx="3">
                  <c:v>5.1249438559070075</c:v>
                </c:pt>
                <c:pt idx="4">
                  <c:v>5.2860094389714751</c:v>
                </c:pt>
                <c:pt idx="6">
                  <c:v>5.2860094389714742</c:v>
                </c:pt>
                <c:pt idx="7">
                  <c:v>5.2819425500708999</c:v>
                </c:pt>
                <c:pt idx="8">
                  <c:v>5.2819425500708999</c:v>
                </c:pt>
                <c:pt idx="9">
                  <c:v>5.539080356987947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0902257780856726</c:v>
                </c:pt>
                <c:pt idx="5">
                  <c:v>5.2757944389714746</c:v>
                </c:pt>
                <c:pt idx="10">
                  <c:v>5.528865356987948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7449629447744886E-2</c:v>
                </c:pt>
                <c:pt idx="3">
                  <c:v>0.16106558306446725</c:v>
                </c:pt>
                <c:pt idx="6">
                  <c:v>1.4758603589577301E-2</c:v>
                </c:pt>
                <c:pt idx="8">
                  <c:v>0.2571378069170477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9465516264101091E-3</c:v>
                </c:pt>
                <c:pt idx="7">
                  <c:v>1.882549249015142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0215E-2</c:v>
                </c:pt>
                <c:pt idx="5">
                  <c:v>1.0215E-2</c:v>
                </c:pt>
                <c:pt idx="10">
                  <c:v>1.0215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1004407780856722</c:v>
                </c:pt>
                <c:pt idx="5">
                  <c:v>5.2860094389714742</c:v>
                </c:pt>
                <c:pt idx="10">
                  <c:v>5.539080356987947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mgevingsadressendichtheid</c:v>
                </c:pt>
                <c:pt idx="1">
                  <c:v>Woonruimten</c:v>
                </c:pt>
                <c:pt idx="2">
                  <c:v>Inwoners</c:v>
                </c:pt>
                <c:pt idx="3">
                  <c:v>Woonruimten * bodemfactor kern</c:v>
                </c:pt>
                <c:pt idx="4">
                  <c:v>Opp. bebouwing kern *bodemfactor kern</c:v>
                </c:pt>
                <c:pt idx="5">
                  <c:v>Oppervlak bebouwing woonkernen</c:v>
                </c:pt>
                <c:pt idx="6">
                  <c:v>Bedrijfsvestigingen</c:v>
                </c:pt>
                <c:pt idx="7">
                  <c:v>Oeverlengte*dichtheid *bodemf. Gem.</c:v>
                </c:pt>
                <c:pt idx="8">
                  <c:v>Opp. bebouwing totaal</c:v>
                </c:pt>
                <c:pt idx="9">
                  <c:v>Huishoudens met laag inkomen</c:v>
                </c:pt>
                <c:pt idx="10">
                  <c:v>Overig</c:v>
                </c:pt>
              </c:strCache>
            </c:strRef>
          </c:cat>
          <c:val>
            <c:numRef>
              <c:f>Sheet1!$B$2:$B$12</c:f>
              <c:numCache>
                <c:formatCode>General</c:formatCode>
                <c:ptCount val="11"/>
                <c:pt idx="0">
                  <c:v>1.3439944078704</c:v>
                </c:pt>
                <c:pt idx="1">
                  <c:v>1.0373446969600002</c:v>
                </c:pt>
                <c:pt idx="2">
                  <c:v>0.67029745536000018</c:v>
                </c:pt>
                <c:pt idx="3">
                  <c:v>0.62666720844000001</c:v>
                </c:pt>
                <c:pt idx="4">
                  <c:v>0.5229270774</c:v>
                </c:pt>
                <c:pt idx="5">
                  <c:v>0.36833555200000001</c:v>
                </c:pt>
                <c:pt idx="6">
                  <c:v>0.28625815400000004</c:v>
                </c:pt>
                <c:pt idx="7">
                  <c:v>0.18733930470834595</c:v>
                </c:pt>
                <c:pt idx="8">
                  <c:v>7.6411427559999995E-2</c:v>
                </c:pt>
                <c:pt idx="9">
                  <c:v>7.026411392000001E-2</c:v>
                </c:pt>
                <c:pt idx="10">
                  <c:v>0.3390259587692012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1.0215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5916806104885737</c:v>
                </c:pt>
                <c:pt idx="1">
                  <c:v>-0.78190430020272872</c:v>
                </c:pt>
                <c:pt idx="2">
                  <c:v>-0.82106071420649329</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5916806104885737</c:v>
                </c:pt>
                <c:pt idx="1">
                  <c:v>-0.78190430020272872</c:v>
                </c:pt>
                <c:pt idx="2">
                  <c:v>-0.82106071420649329</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9.8262704219093</c:v>
                </c:pt>
                <c:pt idx="1">
                  <c:v>-30.688186357499458</c:v>
                </c:pt>
                <c:pt idx="2">
                  <c:v>-32.224997613975951</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8262704219093</c:v>
                </c:pt>
                <c:pt idx="1">
                  <c:v>-30.688186357499458</c:v>
                </c:pt>
                <c:pt idx="2">
                  <c:v>-32.224997613975951</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32.224997613975951</c:v>
                </c:pt>
                <c:pt idx="2">
                  <c:v>-42.593543444112797</c:v>
                </c:pt>
                <c:pt idx="3">
                  <c:v>-47.393591077429676</c:v>
                </c:pt>
                <c:pt idx="4">
                  <c:v>-43.289715301155582</c:v>
                </c:pt>
                <c:pt idx="5">
                  <c:v>-36.675210381526078</c:v>
                </c:pt>
                <c:pt idx="7">
                  <c:v>-42.488015051056038</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32.224997613975951</c:v>
                </c:pt>
                <c:pt idx="2">
                  <c:v>-42.593543444112797</c:v>
                </c:pt>
                <c:pt idx="3">
                  <c:v>-47.393591077429676</c:v>
                </c:pt>
                <c:pt idx="4">
                  <c:v>-43.289715301155582</c:v>
                </c:pt>
                <c:pt idx="5">
                  <c:v>-36.675210381526078</c:v>
                </c:pt>
                <c:pt idx="7">
                  <c:v>-42.488015051056038</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149.97650999175792</c:v>
                </c:pt>
                <c:pt idx="2">
                  <c:v>-112.95837499784288</c:v>
                </c:pt>
                <c:pt idx="3">
                  <c:v>-123.03406916568186</c:v>
                </c:pt>
                <c:pt idx="4">
                  <c:v>-108.67939770140313</c:v>
                </c:pt>
                <c:pt idx="5">
                  <c:v>-135.78872490920574</c:v>
                </c:pt>
                <c:pt idx="7">
                  <c:v>-120.1151416935333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149.97650999175792</c:v>
                </c:pt>
                <c:pt idx="2">
                  <c:v>-112.95837499784288</c:v>
                </c:pt>
                <c:pt idx="3">
                  <c:v>-123.03406916568186</c:v>
                </c:pt>
                <c:pt idx="4">
                  <c:v>-108.67939770140313</c:v>
                </c:pt>
                <c:pt idx="5">
                  <c:v>-135.78872490920574</c:v>
                </c:pt>
                <c:pt idx="7">
                  <c:v>-120.1151416935333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5916806104885737</c:v>
                </c:pt>
                <c:pt idx="2">
                  <c:v>-0.7579963173755927</c:v>
                </c:pt>
                <c:pt idx="3">
                  <c:v>-0.78190430020272872</c:v>
                </c:pt>
                <c:pt idx="4">
                  <c:v>-0.78190430020272872</c:v>
                </c:pt>
                <c:pt idx="6">
                  <c:v>-0.78286113817231984</c:v>
                </c:pt>
                <c:pt idx="7">
                  <c:v>-0.78286113817231984</c:v>
                </c:pt>
                <c:pt idx="8">
                  <c:v>-0.82106071420649329</c:v>
                </c:pt>
                <c:pt idx="9">
                  <c:v>-0.8210607142064932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5916806104885737</c:v>
                </c:pt>
                <c:pt idx="5">
                  <c:v>-0.78190430020272872</c:v>
                </c:pt>
                <c:pt idx="10">
                  <c:v>-0.8210607142064932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1717436732647107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3">
                  <c:v>2.3907982827136062E-2</c:v>
                </c:pt>
                <c:pt idx="6">
                  <c:v>9.5683796959107961E-4</c:v>
                </c:pt>
                <c:pt idx="8">
                  <c:v>3.819957603417349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5916806104885737</c:v>
                </c:pt>
                <c:pt idx="5">
                  <c:v>-0.78190430020272872</c:v>
                </c:pt>
                <c:pt idx="10">
                  <c:v>-0.8210607142064932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everlengte *dichtheid *bodemf. gem.</c:v>
                </c:pt>
                <c:pt idx="4">
                  <c:v>Omgevingsadressendichtheid</c:v>
                </c:pt>
                <c:pt idx="5">
                  <c:v>Oeverlengte * bodemfactor gemeente</c:v>
                </c:pt>
                <c:pt idx="6">
                  <c:v>Land</c:v>
                </c:pt>
                <c:pt idx="7">
                  <c:v>Land * bodemfactor gemeente</c:v>
                </c:pt>
                <c:pt idx="10">
                  <c:v>Overig</c:v>
                </c:pt>
              </c:strCache>
            </c:strRef>
          </c:cat>
          <c:val>
            <c:numRef>
              <c:f>Sheet1!$B$2:$B$12</c:f>
              <c:numCache>
                <c:formatCode>General</c:formatCode>
                <c:ptCount val="11"/>
                <c:pt idx="0">
                  <c:v>-1.1841842916800001</c:v>
                </c:pt>
                <c:pt idx="1">
                  <c:v>0.36333053702400003</c:v>
                </c:pt>
                <c:pt idx="2">
                  <c:v>-0.22466464956000001</c:v>
                </c:pt>
                <c:pt idx="3">
                  <c:v>0.11552590457014668</c:v>
                </c:pt>
                <c:pt idx="4">
                  <c:v>0.10394015651136</c:v>
                </c:pt>
                <c:pt idx="5">
                  <c:v>7.8968049887999988E-3</c:v>
                </c:pt>
                <c:pt idx="6">
                  <c:v>-5.3238556800000005E-3</c:v>
                </c:pt>
                <c:pt idx="7">
                  <c:v>2.418679619200000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357901207743998</c:v>
                </c:pt>
                <c:pt idx="1">
                  <c:v>1.9016763868913602</c:v>
                </c:pt>
                <c:pt idx="2">
                  <c:v>1.99788737611632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357901207743998</c:v>
                </c:pt>
                <c:pt idx="1">
                  <c:v>1.9016763868913602</c:v>
                </c:pt>
                <c:pt idx="2">
                  <c:v>1.99788737611632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2.124705173236947</c:v>
                </c:pt>
                <c:pt idx="1">
                  <c:v>74.637010357210258</c:v>
                </c:pt>
                <c:pt idx="2">
                  <c:v>78.41310004773814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2.124705173236947</c:v>
                </c:pt>
                <c:pt idx="1">
                  <c:v>74.637010357210258</c:v>
                </c:pt>
                <c:pt idx="2">
                  <c:v>78.41310004773814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78.413100047738141</c:v>
                </c:pt>
                <c:pt idx="2">
                  <c:v>93.900948830045905</c:v>
                </c:pt>
                <c:pt idx="3">
                  <c:v>101.52417437277239</c:v>
                </c:pt>
                <c:pt idx="4">
                  <c:v>95.014653837471229</c:v>
                </c:pt>
                <c:pt idx="5">
                  <c:v>77.588754600663194</c:v>
                </c:pt>
                <c:pt idx="7">
                  <c:v>92.007132910238184</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78.413100047738141</c:v>
                </c:pt>
                <c:pt idx="2">
                  <c:v>93.900948830045905</c:v>
                </c:pt>
                <c:pt idx="3">
                  <c:v>101.52417437277239</c:v>
                </c:pt>
                <c:pt idx="4">
                  <c:v>95.014653837471229</c:v>
                </c:pt>
                <c:pt idx="5">
                  <c:v>77.588754600663194</c:v>
                </c:pt>
                <c:pt idx="7">
                  <c:v>92.007132910238184</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8357901207743998</c:v>
                </c:pt>
                <c:pt idx="2">
                  <c:v>1.8435536786731033</c:v>
                </c:pt>
                <c:pt idx="3">
                  <c:v>1.8435536786731033</c:v>
                </c:pt>
                <c:pt idx="4">
                  <c:v>1.9016763868913602</c:v>
                </c:pt>
                <c:pt idx="6">
                  <c:v>1.9016763868913602</c:v>
                </c:pt>
                <c:pt idx="7">
                  <c:v>1.9049389486591888</c:v>
                </c:pt>
                <c:pt idx="8">
                  <c:v>1.9049389486591888</c:v>
                </c:pt>
                <c:pt idx="9">
                  <c:v>1.99788737611632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8357901207743998</c:v>
                </c:pt>
                <c:pt idx="5">
                  <c:v>1.9016763868913602</c:v>
                </c:pt>
                <c:pt idx="10">
                  <c:v>1.99788737611632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7635578987034562E-3</c:v>
                </c:pt>
                <c:pt idx="3">
                  <c:v>5.8122708218256901E-2</c:v>
                </c:pt>
                <c:pt idx="6">
                  <c:v>3.2625617678285579E-3</c:v>
                </c:pt>
                <c:pt idx="8">
                  <c:v>9.2948427457131513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8357901207743998</c:v>
                </c:pt>
                <c:pt idx="5">
                  <c:v>1.9016763868913602</c:v>
                </c:pt>
                <c:pt idx="10">
                  <c:v>1.99788737611632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Minderheden</c:v>
                </c:pt>
                <c:pt idx="3">
                  <c:v>Woz waarde niet woningen (in mln)</c:v>
                </c:pt>
                <c:pt idx="4">
                  <c:v>Kernen met minstens 500 adressen</c:v>
                </c:pt>
                <c:pt idx="5">
                  <c:v>Huishoudens laag inkomen (drempel)</c:v>
                </c:pt>
                <c:pt idx="6">
                  <c:v>Bedrijfsvestigingen</c:v>
                </c:pt>
                <c:pt idx="7">
                  <c:v>Klantenpotentieel lokaal</c:v>
                </c:pt>
                <c:pt idx="8">
                  <c:v>Opp. bebouwing totaal</c:v>
                </c:pt>
                <c:pt idx="9">
                  <c:v>Klantenpotentieel regionaal</c:v>
                </c:pt>
                <c:pt idx="10">
                  <c:v>Overig</c:v>
                </c:pt>
              </c:strCache>
            </c:strRef>
          </c:cat>
          <c:val>
            <c:numRef>
              <c:f>Sheet1!$B$2:$B$12</c:f>
              <c:numCache>
                <c:formatCode>General</c:formatCode>
                <c:ptCount val="11"/>
                <c:pt idx="0">
                  <c:v>1.08895203872</c:v>
                </c:pt>
                <c:pt idx="1">
                  <c:v>0.45568465967232008</c:v>
                </c:pt>
                <c:pt idx="2">
                  <c:v>0.114177154</c:v>
                </c:pt>
                <c:pt idx="3">
                  <c:v>0.11109234536400002</c:v>
                </c:pt>
                <c:pt idx="4">
                  <c:v>8.9495660800000015E-2</c:v>
                </c:pt>
                <c:pt idx="5">
                  <c:v>3.3842134560000008E-2</c:v>
                </c:pt>
                <c:pt idx="6">
                  <c:v>2.5957230000000005E-2</c:v>
                </c:pt>
                <c:pt idx="7">
                  <c:v>2.1762805999999999E-2</c:v>
                </c:pt>
                <c:pt idx="8">
                  <c:v>2.1279173760000002E-2</c:v>
                </c:pt>
                <c:pt idx="9">
                  <c:v>1.5829840000000001E-2</c:v>
                </c:pt>
                <c:pt idx="10">
                  <c:v>1.981433324000025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127126223180005</c:v>
                </c:pt>
                <c:pt idx="1">
                  <c:v>2.8134926678354502</c:v>
                </c:pt>
                <c:pt idx="2">
                  <c:v>2.95127643851040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127126223180005</c:v>
                </c:pt>
                <c:pt idx="1">
                  <c:v>2.8134926678354502</c:v>
                </c:pt>
                <c:pt idx="2">
                  <c:v>2.95127643851040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6.57732378572273</c:v>
                </c:pt>
                <c:pt idx="1">
                  <c:v>110.42398319539426</c:v>
                </c:pt>
                <c:pt idx="2">
                  <c:v>115.8317217516543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6.57732378572273</c:v>
                </c:pt>
                <c:pt idx="1">
                  <c:v>110.42398319539426</c:v>
                </c:pt>
                <c:pt idx="2">
                  <c:v>115.8317217516543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0606528338980485</c:v>
                </c:pt>
                <c:pt idx="2">
                  <c:v>-4.0606528338980485</c:v>
                </c:pt>
                <c:pt idx="3">
                  <c:v>-4.0475717656199999</c:v>
                </c:pt>
                <c:pt idx="4">
                  <c:v>-4.0475717656199999</c:v>
                </c:pt>
                <c:pt idx="6">
                  <c:v>-4.0507801018573533</c:v>
                </c:pt>
                <c:pt idx="7">
                  <c:v>-4.0507801018573533</c:v>
                </c:pt>
                <c:pt idx="8">
                  <c:v>-3.8212514980800001</c:v>
                </c:pt>
                <c:pt idx="9">
                  <c:v>-3.8212514980800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9212552925999997</c:v>
                </c:pt>
                <c:pt idx="5">
                  <c:v>-4.0475717656199999</c:v>
                </c:pt>
                <c:pt idx="10">
                  <c:v>-3.82125149807999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7.5377697200917304E-2</c:v>
                </c:pt>
                <c:pt idx="7">
                  <c:v>1.13646668634173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3939754129804863</c:v>
                </c:pt>
                <c:pt idx="3">
                  <c:v>6.2296628922868844E-2</c:v>
                </c:pt>
                <c:pt idx="6">
                  <c:v>3.208336237353115E-3</c:v>
                </c:pt>
                <c:pt idx="8">
                  <c:v>0.9069380825643856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9212552925999997</c:v>
                </c:pt>
                <c:pt idx="5">
                  <c:v>-4.0475717656199999</c:v>
                </c:pt>
                <c:pt idx="10">
                  <c:v>-3.821251498079999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C$2:$C$10</c:f>
              <c:numCache>
                <c:formatCode>General</c:formatCode>
                <c:ptCount val="9"/>
                <c:pt idx="0">
                  <c:v>115.83172175165433</c:v>
                </c:pt>
                <c:pt idx="2">
                  <c:v>118.88987787267523</c:v>
                </c:pt>
                <c:pt idx="3">
                  <c:v>123.13006998440088</c:v>
                </c:pt>
                <c:pt idx="4">
                  <c:v>123.22103319664987</c:v>
                </c:pt>
                <c:pt idx="5">
                  <c:v>112.96529240091583</c:v>
                </c:pt>
                <c:pt idx="7">
                  <c:v>119.55156836366044</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Voorschoten</c:v>
                </c:pt>
                <c:pt idx="2">
                  <c:v>Ooststellingwerf</c:v>
                </c:pt>
                <c:pt idx="3">
                  <c:v>Aa en Hunze</c:v>
                </c:pt>
                <c:pt idx="4">
                  <c:v>Borger-Odoorn</c:v>
                </c:pt>
                <c:pt idx="5">
                  <c:v>Duiven</c:v>
                </c:pt>
                <c:pt idx="7">
                  <c:v>4 gemeenten</c:v>
                </c:pt>
                <c:pt idx="8">
                  <c:v>Landelijk</c:v>
                </c:pt>
              </c:strCache>
            </c:strRef>
          </c:cat>
          <c:val>
            <c:numRef>
              <c:f>Sheet1!$B$2:$B$10</c:f>
              <c:numCache>
                <c:formatCode>General</c:formatCode>
                <c:ptCount val="9"/>
                <c:pt idx="0">
                  <c:v>115.83172175165433</c:v>
                </c:pt>
                <c:pt idx="2">
                  <c:v>118.88987787267523</c:v>
                </c:pt>
                <c:pt idx="3">
                  <c:v>123.13006998440088</c:v>
                </c:pt>
                <c:pt idx="4">
                  <c:v>123.22103319664987</c:v>
                </c:pt>
                <c:pt idx="5">
                  <c:v>112.96529240091583</c:v>
                </c:pt>
                <c:pt idx="7">
                  <c:v>119.55156836366044</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7127126223180005</c:v>
                </c:pt>
                <c:pt idx="2">
                  <c:v>2.7164670054101321</c:v>
                </c:pt>
                <c:pt idx="3">
                  <c:v>2.7275174815596155</c:v>
                </c:pt>
                <c:pt idx="4">
                  <c:v>2.8134926678354502</c:v>
                </c:pt>
                <c:pt idx="6">
                  <c:v>2.8134926678354502</c:v>
                </c:pt>
                <c:pt idx="7">
                  <c:v>2.8139652689075731</c:v>
                </c:pt>
                <c:pt idx="8">
                  <c:v>2.8139652689075731</c:v>
                </c:pt>
                <c:pt idx="9">
                  <c:v>2.951276438510400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7127126223180005</c:v>
                </c:pt>
                <c:pt idx="5">
                  <c:v>2.8134926678354502</c:v>
                </c:pt>
                <c:pt idx="10">
                  <c:v>2.951276438510400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7543830921317979E-3</c:v>
                </c:pt>
                <c:pt idx="2">
                  <c:v>1.1050476149483197E-2</c:v>
                </c:pt>
                <c:pt idx="3">
                  <c:v>8.5975186275834684E-2</c:v>
                </c:pt>
                <c:pt idx="6">
                  <c:v>1.6476343974450949E-3</c:v>
                </c:pt>
                <c:pt idx="8">
                  <c:v>0.137311169602827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175033325322042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127126223180005</c:v>
                </c:pt>
                <c:pt idx="5">
                  <c:v>2.8134926678354502</c:v>
                </c:pt>
                <c:pt idx="10">
                  <c:v>2.951276438510400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Minderheden</c:v>
                </c:pt>
                <c:pt idx="5">
                  <c:v>Bedrijfsvestigingen</c:v>
                </c:pt>
                <c:pt idx="6">
                  <c:v>Bewoonde oorden 1930</c:v>
                </c:pt>
                <c:pt idx="7">
                  <c:v>Klantenpotentieel regionaal</c:v>
                </c:pt>
                <c:pt idx="8">
                  <c:v>Land</c:v>
                </c:pt>
                <c:pt idx="9">
                  <c:v>Minderheden (drempel)</c:v>
                </c:pt>
                <c:pt idx="10">
                  <c:v>Overig</c:v>
                </c:pt>
              </c:strCache>
            </c:strRef>
          </c:cat>
          <c:val>
            <c:numRef>
              <c:f>Sheet1!$B$2:$B$12</c:f>
              <c:numCache>
                <c:formatCode>General</c:formatCode>
                <c:ptCount val="11"/>
                <c:pt idx="0">
                  <c:v>2.0959117124400004</c:v>
                </c:pt>
                <c:pt idx="1">
                  <c:v>0.61446151520000014</c:v>
                </c:pt>
                <c:pt idx="2">
                  <c:v>0.28248488112000003</c:v>
                </c:pt>
                <c:pt idx="3">
                  <c:v>-0.11873958276960001</c:v>
                </c:pt>
                <c:pt idx="4">
                  <c:v>4.1389712000000002E-2</c:v>
                </c:pt>
                <c:pt idx="5">
                  <c:v>2.9645889000000002E-2</c:v>
                </c:pt>
                <c:pt idx="6">
                  <c:v>2.5048932480000004E-2</c:v>
                </c:pt>
                <c:pt idx="7">
                  <c:v>-2.0737090400000002E-2</c:v>
                </c:pt>
                <c:pt idx="8">
                  <c:v>1.810469440000000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2.8834811999999999</c:v>
                </c:pt>
                <c:pt idx="1">
                  <c:v>-0.49639579808000001</c:v>
                </c:pt>
                <c:pt idx="2">
                  <c:v>-0.259090447</c:v>
                </c:pt>
                <c:pt idx="3">
                  <c:v>-0.23864763300000003</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39819975152266</c:v>
                </c:pt>
                <c:pt idx="1">
                  <c:v>2.1896722595104805</c:v>
                </c:pt>
                <c:pt idx="2">
                  <c:v>2.24786164280080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4546000000000005E-2</c:v>
                </c:pt>
                <c:pt idx="1">
                  <c:v>0.24316399999999999</c:v>
                </c:pt>
                <c:pt idx="2">
                  <c:v>0.252786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343659751522658</c:v>
                </c:pt>
                <c:pt idx="1">
                  <c:v>2.4328362595104807</c:v>
                </c:pt>
                <c:pt idx="2">
                  <c:v>2.50064764280080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3.281296589581181</cx:pt>
          <cx:pt idx="1">-3.8212514980799996</cx:pt>
          <cx:pt idx="2">29.460045091501183</cx:pt>
          <cx:pt idx="3">0.8546180000000021</cx:pt>
          <cx:pt idx="4">30.314663091501185</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Voorschot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Voorschoten is ca. 30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633454699"/>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0,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0,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9,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Voorschoten is ca. 30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1045158423"/>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3153022688"/>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497088726"/>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56279054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6,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Voorschoten is ca. 30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4121558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04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4,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Voorschoten ca. 1.19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221004928"/>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Voorscho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9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1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426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20634962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1284791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1537090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0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68426877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4066054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3550029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6029785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52690527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8370239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728518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94104336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2817417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3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93975279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5131714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1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54848958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3520439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46881742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923757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8970726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5024698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94448934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3418507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0286316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0781662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7609108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82620801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18154889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322960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7213281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67017981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2301633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6037301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88626411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8556498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05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42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1911631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53419249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19486617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23797391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5495020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6330811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3479898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7390528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5532520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79561836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8784569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8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0656160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7731775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3368265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3426189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817428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185493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1629441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6640360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147159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75789151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05720337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05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3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0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0090631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5404886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8894810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3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5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5905280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3876238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5625672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0191753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6188381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8870041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5763131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0368399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7289562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4428890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52545875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479227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15665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0362917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1456985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05695112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45662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2187698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9485765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6093848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8871310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129491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7042753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92578844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5933868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bliotheekmiddel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8061197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2931861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1287550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13217415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6147598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2317695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47795000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3697881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95504722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91658116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2612755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2282808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8182718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10150954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72339829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862470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818683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144385817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3747839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9827436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4174817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9775300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7792913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65607618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52805972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6426867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87537336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Voorschot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037601774"/>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6655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71214354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111273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5644492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27323183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9988234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88262339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924453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4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47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526305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0300291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09957131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7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3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1.58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2639928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9463832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537317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744308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5825656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Voorschot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849314611"/>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6,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Voorschoten is ca. 30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0525474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04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1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73</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Voorschoten ca. 1.19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242075022"/>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Voorschot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5.479</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Ooststellingwerf</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49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Aa En Hunz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38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Borger-Odoor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37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Duiv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33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02730609"/>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Voorschot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19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426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Voorschot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88868137"/>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361148618"/>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4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Voorschot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09</Words>
  <Application>Microsoft Office PowerPoint</Application>
  <PresentationFormat>Widescreen</PresentationFormat>
  <Paragraphs>2183</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Voorschoten is ca. 30 mln (1/3)</vt:lpstr>
      <vt:lpstr>Totale uitkering voor Voorschoten is ca. 30 mln (2/3)</vt:lpstr>
      <vt:lpstr>Totale uitkering voor Voorschoten is ca. 30 mln (3/3)</vt:lpstr>
      <vt:lpstr>Per inwoner ontvangt Voorschoten ca. 1.190 euro</vt:lpstr>
      <vt:lpstr>Dit is ca. 426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Voorschoten is ca. 30 mln</vt:lpstr>
      <vt:lpstr>Per inwoner ontvangt Voorschoten ca. 1.190 euro</vt:lpstr>
      <vt:lpstr>Dit is ca. €426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13:12:58Z</dcterms:modified>
</cp:coreProperties>
</file>